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  <p:sldMasterId id="2147483674" r:id="rId3"/>
    <p:sldMasterId id="2147483686" r:id="rId4"/>
  </p:sldMasterIdLst>
  <p:notesMasterIdLst>
    <p:notesMasterId r:id="rId21"/>
  </p:notesMasterIdLst>
  <p:sldIdLst>
    <p:sldId id="374" r:id="rId5"/>
    <p:sldId id="406" r:id="rId6"/>
    <p:sldId id="419" r:id="rId7"/>
    <p:sldId id="407" r:id="rId8"/>
    <p:sldId id="408" r:id="rId9"/>
    <p:sldId id="409" r:id="rId10"/>
    <p:sldId id="410" r:id="rId11"/>
    <p:sldId id="422" r:id="rId12"/>
    <p:sldId id="411" r:id="rId13"/>
    <p:sldId id="412" r:id="rId14"/>
    <p:sldId id="413" r:id="rId15"/>
    <p:sldId id="424" r:id="rId16"/>
    <p:sldId id="423" r:id="rId17"/>
    <p:sldId id="416" r:id="rId18"/>
    <p:sldId id="417" r:id="rId19"/>
    <p:sldId id="418" r:id="rId2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16" autoAdjust="0"/>
    <p:restoredTop sz="90545" autoAdjust="0"/>
  </p:normalViewPr>
  <p:slideViewPr>
    <p:cSldViewPr snapToGrid="0">
      <p:cViewPr varScale="1">
        <p:scale>
          <a:sx n="57" d="100"/>
          <a:sy n="57" d="100"/>
        </p:scale>
        <p:origin x="146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DD6E57-6F84-4152-9C92-2378F3A35638}" type="datetimeFigureOut">
              <a:rPr lang="fr-FR" smtClean="0"/>
              <a:t>15/06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DA1354-EA28-471F-976B-DA5E0C0C89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7478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A1354-EA28-471F-976B-DA5E0C0C892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2597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A1354-EA28-471F-976B-DA5E0C0C892A}" type="slidenum">
              <a:rPr lang="fr-FR" smtClean="0">
                <a:solidFill>
                  <a:prstClr val="black"/>
                </a:solidFill>
              </a:rPr>
              <a:pPr/>
              <a:t>1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4948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A1354-EA28-471F-976B-DA5E0C0C892A}" type="slidenum">
              <a:rPr lang="fr-FR" smtClean="0">
                <a:solidFill>
                  <a:prstClr val="black"/>
                </a:solidFill>
              </a:rPr>
              <a:pPr/>
              <a:t>16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30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A1354-EA28-471F-976B-DA5E0C0C892A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2555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A1354-EA28-471F-976B-DA5E0C0C892A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8710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A1354-EA28-471F-976B-DA5E0C0C892A}" type="slidenum">
              <a:rPr lang="fr-FR" smtClean="0">
                <a:solidFill>
                  <a:prstClr val="black"/>
                </a:solidFill>
              </a:rPr>
              <a:pPr/>
              <a:t>6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028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DA1354-EA28-471F-976B-DA5E0C0C892A}" type="slidenum">
              <a:rPr lang="fr-FR" smtClean="0">
                <a:solidFill>
                  <a:prstClr val="black"/>
                </a:solidFill>
              </a:rPr>
              <a:pPr/>
              <a:t>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8302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DA1354-EA28-471F-976B-DA5E0C0C892A}" type="slidenum">
              <a:rPr lang="fr-FR" smtClean="0">
                <a:solidFill>
                  <a:prstClr val="black"/>
                </a:solidFill>
              </a:rPr>
              <a:pPr/>
              <a:t>10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3950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A1354-EA28-471F-976B-DA5E0C0C892A}" type="slidenum">
              <a:rPr lang="fr-FR" smtClean="0">
                <a:solidFill>
                  <a:prstClr val="black"/>
                </a:solidFill>
              </a:rPr>
              <a:pPr/>
              <a:t>11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6449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06098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DA1354-EA28-471F-976B-DA5E0C0C892A}" type="slidenum">
              <a:rPr lang="fr-FR" smtClean="0">
                <a:solidFill>
                  <a:prstClr val="black"/>
                </a:solidFill>
              </a:rPr>
              <a:pPr/>
              <a:t>14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791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EFBE6-7458-426D-943E-9F353E71F87E}" type="datetime1">
              <a:rPr lang="fr-FR" smtClean="0"/>
              <a:t>15/06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24660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7A93C9-85E2-4025-9926-6FBD45540E37}" type="datetime1">
              <a:rPr lang="fr-FR" smtClean="0"/>
              <a:t>15/06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8086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F4462-6025-4CBA-9F17-D865315644C8}" type="datetime1">
              <a:rPr lang="fr-FR" smtClean="0"/>
              <a:t>15/06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93458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smtClean="0"/>
              <a:t>F. Flamerie - Oskar Bordeaux - 2022-06-14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2DA681-6386-4475-8E10-92154614962A}" type="datetime1">
              <a:rPr lang="fr-FR" smtClean="0"/>
              <a:t>15/06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46990">
              <a:lnSpc>
                <a:spcPts val="1240"/>
              </a:lnSpc>
            </a:pPr>
            <a:fld id="{81D60167-4931-47E6-BA6A-407CBD079E47}" type="slidenum">
              <a:rPr dirty="0">
                <a:latin typeface="Corbel"/>
                <a:cs typeface="Corbel"/>
              </a:rPr>
              <a:t>‹N°›</a:t>
            </a:fld>
            <a:endParaRPr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41279002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8FC520-36C0-4BC4-8E55-3D7F31C254F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597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01FD1-56A1-42AE-A8FC-AFB6B0815E1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5815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31197E-F941-408C-A428-65F0197B228D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2871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8AEF2-CD0D-4309-8AE2-6AF5434548D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648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6A13CB-864A-4355-9CA6-81A4AE61BE13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2825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CD2E3F-2167-4014-AB06-8E88ED4629F8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0207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06235-B2CB-42A3-97C6-D8CBF87324F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3663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39DF23-B5BC-46B9-9260-187EFB8910BC}" type="datetime1">
              <a:rPr lang="fr-FR" smtClean="0"/>
              <a:t>15/06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89412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799C0-CE94-46F7-BA21-98B944437C7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3886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AA59-96FF-4235-8231-0B0283B77F7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4079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F44E7-875F-4D04-AC1D-A5E6222EE69D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4898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96E3E-18DE-4E9D-B07C-68038E7225C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7806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C17762A0-596D-43C9-920D-DAEB25FCDC96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EE8CD791-F988-43DE-BF70-6F89D03D494D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956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1A627E78-FDEE-4B4B-8A95-AD1C865C27F8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4415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E14EC2AB-4DE9-43AC-A3CE-564EE5EBFD00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9401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22815CBF-6F9C-49B4-8F56-10D2EFA5C15C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4355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676D568-665D-4C9E-86CD-05362D3F21F8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733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E3B8E-9743-43F9-BFCD-60A764FC4E74}" type="datetime1">
              <a:rPr lang="fr-FR" smtClean="0"/>
              <a:t>15/06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60284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0057D5B9-5374-4007-9725-2F3B4D223A98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632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A1905D54-1124-4E3F-A97C-46447842F1ED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988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EC8B0ADA-8AD9-48DD-99AC-57A9D58AC91E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8448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FB1852E-6054-4ABD-8EA0-2E07E50D7B16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2123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DDE5814F-36E7-4EDC-93CA-9D5326E4C2EE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4105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208494C0-0896-4C71-B53D-DED4F12E6599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9829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9C58A725-044F-4F9A-933B-5C9A9025376D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8380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5595F7C8-AD17-4A5E-BD96-E365A6D85ED5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973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65E651BE-1465-40EF-8DA2-C7CA14376BB1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6116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04F9F4C5-4C3A-419C-A42A-C3820305E920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3613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067E79-3AEE-4FB8-ABE9-83AD63BE1155}" type="datetime1">
              <a:rPr lang="fr-FR" smtClean="0"/>
              <a:t>15/06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0175821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E31FF17A-5E5C-4EB3-9EA4-06D1B218011E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0592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1DEC5F56-BF75-43E0-8B56-6325E0D6CEE1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4075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49AFE789-5297-4F31-81CF-6A68E5DF6F8F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4712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2B555B3A-36B2-42A8-9F3E-F730F2DDE7FF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5932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C69918A5-484B-4D0D-B185-7CE5ADF1BACD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5717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BCF7EC5E-DCA9-4711-9157-AD1016CF3521}" type="datetime1">
              <a:rPr lang="fr-FR" smtClean="0">
                <a:solidFill>
                  <a:prstClr val="black"/>
                </a:solidFill>
              </a:rPr>
              <a:t>15/06/202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251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CE1CB-74C4-41BB-A5C4-55860DF76E7D}" type="datetime1">
              <a:rPr lang="fr-FR" smtClean="0"/>
              <a:t>15/06/202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8979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F1C6-BE0E-43B4-B65C-F73833B43068}" type="datetime1">
              <a:rPr lang="fr-FR" smtClean="0"/>
              <a:t>15/06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1575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9117D6-02C2-44A0-A921-8AB9B8A02774}" type="datetime1">
              <a:rPr lang="fr-FR" smtClean="0"/>
              <a:t>15/06/202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28029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8478C-243A-452C-A290-ABD2F5539C70}" type="datetime1">
              <a:rPr lang="fr-FR" smtClean="0"/>
              <a:t>15/06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3122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50DE6-01DA-468A-8FDF-05DA156E545F}" type="datetime1">
              <a:rPr lang="fr-FR" smtClean="0"/>
              <a:t>15/06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0789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12D67C-09E0-4D15-8BD7-9E55A3A22452}" type="datetime1">
              <a:rPr lang="fr-FR" smtClean="0"/>
              <a:t>15/06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81E13A-1B0F-4413-A460-E7D88DCF3ED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5589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fld id="{FEBBBFDA-7BD7-425B-9489-0A5BD3F05B5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15/06/2022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69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13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400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://creativecommons.org/licenses/by-sa/3.0/fr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Relationship Id="rId6" Type="http://schemas.openxmlformats.org/officeDocument/2006/relationships/hyperlink" Target="https://www.howcanishareit.com/" TargetMode="External"/><Relationship Id="rId5" Type="http://schemas.openxmlformats.org/officeDocument/2006/relationships/hyperlink" Target="https://v2.sherpa.ac.uk/id/publication/804" TargetMode="External"/><Relationship Id="rId4" Type="http://schemas.openxmlformats.org/officeDocument/2006/relationships/hyperlink" Target="https://v2.sherpa.ac.uk/romeo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ccessbutton.org/direct2aam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4" Type="http://schemas.openxmlformats.org/officeDocument/2006/relationships/hyperlink" Target="https://www.hal.inserm.fr/inserm-03593970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16/j.bpsc.2021.10.011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oskar-bordeaux.fr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oskar-bordeaux.fr" TargetMode="External"/><Relationship Id="rId2" Type="http://schemas.openxmlformats.org/officeDocument/2006/relationships/hyperlink" Target="https://oskar-bordeaux.fr/" TargetMode="External"/><Relationship Id="rId1" Type="http://schemas.openxmlformats.org/officeDocument/2006/relationships/slideLayout" Target="../slideLayouts/slideLayout36.xml"/><Relationship Id="rId4" Type="http://schemas.openxmlformats.org/officeDocument/2006/relationships/hyperlink" Target="https://www.hal.inserm.fr/U1219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hyperlink" Target="https://oskar-bordeaux.fr/handle/20.500.12278/10" TargetMode="External"/><Relationship Id="rId4" Type="http://schemas.openxmlformats.org/officeDocument/2006/relationships/image" Target="../media/image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oskar-bordeaux.fr/discover?scope=/&amp;query=bordeaux.team:LEHA_BPH&amp;submit=&amp;sort_by=dc.date.public_dt&amp;order=desc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hal.inserm.fr/U1219" TargetMode="Externa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Relationship Id="rId4" Type="http://schemas.openxmlformats.org/officeDocument/2006/relationships/hyperlink" Target="https://www.legifrance.gouv.fr/eli/loi/2016/10/7/ECFI1524250L/jo#JORFARTI00003320284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77062" y="2080317"/>
            <a:ext cx="10533863" cy="3184846"/>
          </a:xfrm>
          <a:prstGeom prst="rect">
            <a:avLst/>
          </a:prstGeom>
        </p:spPr>
        <p:txBody>
          <a:bodyPr vert="horz" wrap="square" lIns="0" tIns="106045" rIns="0" bIns="0" rtlCol="0">
            <a:spAutoFit/>
          </a:bodyPr>
          <a:lstStyle/>
          <a:p>
            <a:pPr marL="12700" marR="5080">
              <a:lnSpc>
                <a:spcPts val="5830"/>
              </a:lnSpc>
              <a:spcBef>
                <a:spcPts val="835"/>
              </a:spcBef>
            </a:pPr>
            <a:r>
              <a:rPr lang="fr-FR" sz="5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époser un article dans l'archive ouverte de l'université de Bordeaux </a:t>
            </a:r>
            <a:r>
              <a:rPr lang="fr-FR" sz="5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 OSKAR Bordeaux »</a:t>
            </a:r>
          </a:p>
          <a:p>
            <a:pPr marL="12700" marR="5080">
              <a:lnSpc>
                <a:spcPts val="5830"/>
              </a:lnSpc>
              <a:spcBef>
                <a:spcPts val="835"/>
              </a:spcBef>
            </a:pPr>
            <a:r>
              <a:rPr sz="2400" dirty="0" smtClean="0">
                <a:latin typeface="Tahoma"/>
                <a:cs typeface="Tahoma"/>
              </a:rPr>
              <a:t>Module</a:t>
            </a:r>
            <a:r>
              <a:rPr sz="2400" spc="-20" dirty="0" smtClean="0">
                <a:latin typeface="Tahoma"/>
                <a:cs typeface="Tahoma"/>
              </a:rPr>
              <a:t> </a:t>
            </a:r>
            <a:r>
              <a:rPr sz="2400" dirty="0" smtClean="0">
                <a:latin typeface="Tahoma"/>
                <a:cs typeface="Tahoma"/>
              </a:rPr>
              <a:t>3.</a:t>
            </a:r>
            <a:r>
              <a:rPr lang="fr-FR" sz="2400" dirty="0" smtClean="0">
                <a:latin typeface="Tahoma"/>
                <a:cs typeface="Tahoma"/>
              </a:rPr>
              <a:t>3</a:t>
            </a:r>
            <a:endParaRPr sz="2400" dirty="0">
              <a:latin typeface="Tahoma"/>
              <a:cs typeface="Tahom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59308" y="6181344"/>
            <a:ext cx="1228344" cy="4297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1961514" y="6148527"/>
            <a:ext cx="908113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7E7E7E"/>
                </a:solidFill>
                <a:latin typeface="Corbel"/>
                <a:cs typeface="Corbel"/>
                <a:hlinkClick r:id="rId4"/>
              </a:rPr>
              <a:t>Ce </a:t>
            </a:r>
            <a:r>
              <a:rPr sz="1600" spc="-10" dirty="0">
                <a:solidFill>
                  <a:srgbClr val="7E7E7E"/>
                </a:solidFill>
                <a:latin typeface="Corbel"/>
                <a:cs typeface="Corbel"/>
                <a:hlinkClick r:id="rId4"/>
              </a:rPr>
              <a:t>contenu </a:t>
            </a:r>
            <a:r>
              <a:rPr sz="1600" spc="-5" dirty="0">
                <a:solidFill>
                  <a:srgbClr val="7E7E7E"/>
                </a:solidFill>
                <a:latin typeface="Corbel"/>
                <a:cs typeface="Corbel"/>
                <a:hlinkClick r:id="rId4"/>
              </a:rPr>
              <a:t>est mis à disposition </a:t>
            </a:r>
            <a:r>
              <a:rPr sz="1600" spc="-10" dirty="0">
                <a:solidFill>
                  <a:srgbClr val="7E7E7E"/>
                </a:solidFill>
                <a:latin typeface="Corbel"/>
                <a:cs typeface="Corbel"/>
                <a:hlinkClick r:id="rId4"/>
              </a:rPr>
              <a:t>selon </a:t>
            </a:r>
            <a:r>
              <a:rPr sz="1600" spc="-5" dirty="0">
                <a:solidFill>
                  <a:srgbClr val="7E7E7E"/>
                </a:solidFill>
                <a:latin typeface="Corbel"/>
                <a:cs typeface="Corbel"/>
                <a:hlinkClick r:id="rId4"/>
              </a:rPr>
              <a:t>les </a:t>
            </a:r>
            <a:r>
              <a:rPr sz="1600" spc="-10" dirty="0">
                <a:solidFill>
                  <a:srgbClr val="7E7E7E"/>
                </a:solidFill>
                <a:latin typeface="Corbel"/>
                <a:cs typeface="Corbel"/>
                <a:hlinkClick r:id="rId4"/>
              </a:rPr>
              <a:t>termes </a:t>
            </a:r>
            <a:r>
              <a:rPr sz="1600" spc="-5" dirty="0">
                <a:solidFill>
                  <a:srgbClr val="7E7E7E"/>
                </a:solidFill>
                <a:latin typeface="Corbel"/>
                <a:cs typeface="Corbel"/>
                <a:hlinkClick r:id="rId4"/>
              </a:rPr>
              <a:t>de la </a:t>
            </a:r>
            <a:r>
              <a:rPr sz="16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Licence </a:t>
            </a:r>
            <a:r>
              <a:rPr sz="16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Creative Commons</a:t>
            </a:r>
            <a:r>
              <a:rPr sz="1600" u="sng" spc="1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 </a:t>
            </a:r>
            <a:r>
              <a:rPr sz="16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Attribution </a:t>
            </a:r>
            <a:r>
              <a:rPr sz="16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- </a:t>
            </a:r>
            <a:r>
              <a:rPr sz="16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Partage dans</a:t>
            </a:r>
            <a:endParaRPr sz="1600" dirty="0">
              <a:latin typeface="Corbel"/>
              <a:cs typeface="Corbel"/>
            </a:endParaRPr>
          </a:p>
          <a:p>
            <a:pPr marL="12700">
              <a:lnSpc>
                <a:spcPct val="100000"/>
              </a:lnSpc>
            </a:pPr>
            <a:r>
              <a:rPr sz="16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les Mêmes Conditions </a:t>
            </a:r>
            <a:r>
              <a:rPr sz="16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3.0</a:t>
            </a:r>
            <a:r>
              <a:rPr sz="1600" u="sng" spc="4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 </a:t>
            </a:r>
            <a:r>
              <a:rPr sz="16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orbel"/>
                <a:cs typeface="Corbel"/>
                <a:hlinkClick r:id="rId4"/>
              </a:rPr>
              <a:t>France</a:t>
            </a:r>
            <a:r>
              <a:rPr sz="1600" spc="-10" dirty="0">
                <a:solidFill>
                  <a:srgbClr val="7E7E7E"/>
                </a:solidFill>
                <a:latin typeface="Corbel"/>
                <a:cs typeface="Corbel"/>
                <a:hlinkClick r:id="rId4"/>
              </a:rPr>
              <a:t>.</a:t>
            </a:r>
            <a:endParaRPr sz="1600" dirty="0">
              <a:latin typeface="Corbel"/>
              <a:cs typeface="Corbel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46990">
              <a:lnSpc>
                <a:spcPts val="1240"/>
              </a:lnSpc>
            </a:pPr>
            <a:fld id="{81D60167-4931-47E6-BA6A-407CBD079E47}" type="slidenum">
              <a:rPr lang="fr-FR" smtClean="0">
                <a:latin typeface="Corbel"/>
                <a:cs typeface="Corbel"/>
              </a:rPr>
              <a:t>1</a:t>
            </a:fld>
            <a:endParaRPr lang="fr-FR" dirty="0">
              <a:latin typeface="Corbel"/>
              <a:cs typeface="Corbel"/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053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992" y="1059416"/>
            <a:ext cx="7567316" cy="556308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3224" y="0"/>
            <a:ext cx="10515600" cy="1325563"/>
          </a:xfrm>
        </p:spPr>
        <p:txBody>
          <a:bodyPr/>
          <a:lstStyle/>
          <a:p>
            <a:r>
              <a:rPr lang="fr-FR" dirty="0"/>
              <a:t>Qu’avez-vous le droit de déposer?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03224" y="1225689"/>
            <a:ext cx="3875237" cy="5124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Certaines revues accordent même davantage de permissions, voir le service 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  <a:hlinkClick r:id="rId4"/>
              </a:rPr>
              <a:t>Sherpa-Romeo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 - ex: 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  <a:hlinkClick r:id="rId5"/>
              </a:rPr>
              <a:t>fiche </a:t>
            </a:r>
            <a:r>
              <a:rPr lang="fr-FR" sz="2400" dirty="0" err="1">
                <a:solidFill>
                  <a:prstClr val="black"/>
                </a:solidFill>
                <a:latin typeface="Corbel" panose="020B0503020204020204" pitchFamily="34" charset="0"/>
                <a:hlinkClick r:id="rId5"/>
              </a:rPr>
              <a:t>Annals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  <a:hlinkClick r:id="rId5"/>
              </a:rPr>
              <a:t> of </a:t>
            </a:r>
            <a:r>
              <a:rPr lang="fr-FR" sz="2400" dirty="0" err="1">
                <a:solidFill>
                  <a:prstClr val="black"/>
                </a:solidFill>
                <a:latin typeface="Corbel" panose="020B0503020204020204" pitchFamily="34" charset="0"/>
                <a:hlinkClick r:id="rId5"/>
              </a:rPr>
              <a:t>Applied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  <a:hlinkClick r:id="rId5"/>
              </a:rPr>
              <a:t> </a:t>
            </a:r>
            <a:r>
              <a:rPr lang="fr-FR" sz="2400" dirty="0" err="1">
                <a:solidFill>
                  <a:prstClr val="black"/>
                </a:solidFill>
                <a:latin typeface="Corbel" panose="020B0503020204020204" pitchFamily="34" charset="0"/>
                <a:hlinkClick r:id="rId5"/>
              </a:rPr>
              <a:t>Probability</a:t>
            </a:r>
            <a:endParaRPr lang="fr-FR" sz="2400" dirty="0">
              <a:solidFill>
                <a:prstClr val="black"/>
              </a:solidFill>
              <a:latin typeface="Corbel" panose="020B0503020204020204" pitchFamily="34" charset="0"/>
            </a:endParaRPr>
          </a:p>
          <a:p>
            <a:pPr marL="342900" indent="-342900">
              <a:spcBef>
                <a:spcPts val="1800"/>
              </a:spcBef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Connaître les droits de partage via </a:t>
            </a:r>
            <a:r>
              <a:rPr lang="fr-FR" sz="2400" dirty="0" err="1">
                <a:solidFill>
                  <a:prstClr val="black"/>
                </a:solidFill>
                <a:latin typeface="Corbel" panose="020B0503020204020204" pitchFamily="34" charset="0"/>
              </a:rPr>
              <a:t>ResearchGate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, Oskar, etc. d’un article à partir de son DOI : 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  <a:hlinkClick r:id="rId6"/>
              </a:rPr>
              <a:t>https://www.howcanishareit.com/</a:t>
            </a:r>
            <a:endParaRPr lang="fr-FR" sz="2400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896360" y="6563127"/>
            <a:ext cx="600964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879565" y="5763872"/>
            <a:ext cx="7059743" cy="785006"/>
          </a:xfrm>
          <a:prstGeom prst="rect">
            <a:avLst/>
          </a:prstGeom>
          <a:noFill/>
          <a:ln w="317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95540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5904" y="60960"/>
            <a:ext cx="10515600" cy="1325563"/>
          </a:xfrm>
        </p:spPr>
        <p:txBody>
          <a:bodyPr/>
          <a:lstStyle/>
          <a:p>
            <a:r>
              <a:rPr lang="fr-FR" dirty="0"/>
              <a:t>Versions d’article : manuscrit accepté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38600" y="6417310"/>
            <a:ext cx="469900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610600" y="6417310"/>
            <a:ext cx="2743200" cy="365125"/>
          </a:xfrm>
        </p:spPr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97184" y="1259175"/>
            <a:ext cx="8459461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</a:rPr>
              <a:t>Manuscrit accepté </a:t>
            </a:r>
            <a:r>
              <a:rPr lang="fr-FR" sz="2800" dirty="0">
                <a:solidFill>
                  <a:srgbClr val="ED7D31"/>
                </a:solidFill>
                <a:latin typeface="Corbel" panose="020B0503020204020204" pitchFamily="34" charset="0"/>
              </a:rPr>
              <a:t>≠ PDF final mis en forme par l’éditeur</a:t>
            </a:r>
          </a:p>
          <a:p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</a:rPr>
              <a:t>Manuscrit accepté </a:t>
            </a:r>
            <a:r>
              <a:rPr lang="fr-FR" sz="2800" dirty="0">
                <a:solidFill>
                  <a:srgbClr val="ED7D31"/>
                </a:solidFill>
                <a:latin typeface="Corbel" panose="020B0503020204020204" pitchFamily="34" charset="0"/>
              </a:rPr>
              <a:t>≠ </a:t>
            </a:r>
            <a:r>
              <a:rPr lang="fr-FR" sz="2800" i="1" dirty="0" err="1">
                <a:solidFill>
                  <a:srgbClr val="ED7D31"/>
                </a:solidFill>
                <a:latin typeface="Corbel" panose="020B0503020204020204" pitchFamily="34" charset="0"/>
              </a:rPr>
              <a:t>proofs</a:t>
            </a:r>
            <a:endParaRPr lang="fr-FR" sz="2800" i="1" dirty="0">
              <a:solidFill>
                <a:srgbClr val="ED7D31"/>
              </a:solidFill>
              <a:latin typeface="Corbel" panose="020B0503020204020204" pitchFamily="34" charset="0"/>
            </a:endParaRPr>
          </a:p>
          <a:p>
            <a:endParaRPr lang="fr-FR" sz="2800" dirty="0">
              <a:solidFill>
                <a:srgbClr val="002060"/>
              </a:solidFill>
              <a:latin typeface="Corbel" panose="020B0503020204020204" pitchFamily="34" charset="0"/>
            </a:endParaRPr>
          </a:p>
          <a:p>
            <a:r>
              <a:rPr lang="fr-FR" sz="3200" dirty="0">
                <a:solidFill>
                  <a:prstClr val="black"/>
                </a:solidFill>
                <a:latin typeface="Corbel" panose="020B0503020204020204" pitchFamily="34" charset="0"/>
              </a:rPr>
              <a:t>Manuscrit accepté = fichier(s) non mis en forme par l’éditeur, sans indication de copyright :</a:t>
            </a:r>
          </a:p>
          <a:p>
            <a:r>
              <a:rPr lang="fr-FR" sz="3200" dirty="0">
                <a:solidFill>
                  <a:srgbClr val="ED7D31"/>
                </a:solidFill>
                <a:latin typeface="Corbel" panose="020B0503020204020204" pitchFamily="34" charset="0"/>
              </a:rPr>
              <a:t>PDF ou Word incluant tout le contenu de l’article + </a:t>
            </a:r>
            <a:r>
              <a:rPr lang="fr-FR" sz="3200" i="1" dirty="0" err="1">
                <a:solidFill>
                  <a:srgbClr val="ED7D31"/>
                </a:solidFill>
                <a:latin typeface="Corbel" panose="020B0503020204020204" pitchFamily="34" charset="0"/>
              </a:rPr>
              <a:t>supplementary</a:t>
            </a:r>
            <a:r>
              <a:rPr lang="fr-FR" sz="3200" i="1" dirty="0">
                <a:solidFill>
                  <a:srgbClr val="ED7D31"/>
                </a:solidFill>
                <a:latin typeface="Corbel" panose="020B0503020204020204" pitchFamily="34" charset="0"/>
              </a:rPr>
              <a:t> </a:t>
            </a:r>
            <a:r>
              <a:rPr lang="fr-FR" sz="3200" i="1" dirty="0" err="1">
                <a:solidFill>
                  <a:srgbClr val="ED7D31"/>
                </a:solidFill>
                <a:latin typeface="Corbel" panose="020B0503020204020204" pitchFamily="34" charset="0"/>
              </a:rPr>
              <a:t>material</a:t>
            </a:r>
            <a:endParaRPr lang="fr-FR" sz="3200" i="1" dirty="0">
              <a:solidFill>
                <a:srgbClr val="ED7D31"/>
              </a:solidFill>
              <a:latin typeface="Corbel" panose="020B0503020204020204" pitchFamily="34" charset="0"/>
            </a:endParaRPr>
          </a:p>
          <a:p>
            <a:r>
              <a:rPr lang="fr-FR" sz="3200" dirty="0">
                <a:solidFill>
                  <a:srgbClr val="002060"/>
                </a:solidFill>
                <a:latin typeface="Corbel" panose="020B0503020204020204" pitchFamily="34" charset="0"/>
              </a:rPr>
              <a:t>o</a:t>
            </a:r>
            <a:r>
              <a:rPr lang="fr-FR" sz="3200" dirty="0">
                <a:solidFill>
                  <a:prstClr val="black"/>
                </a:solidFill>
                <a:latin typeface="Corbel" panose="020B0503020204020204" pitchFamily="34" charset="0"/>
              </a:rPr>
              <a:t>u</a:t>
            </a:r>
          </a:p>
          <a:p>
            <a:r>
              <a:rPr lang="fr-FR" sz="3200" dirty="0">
                <a:solidFill>
                  <a:srgbClr val="ED7D31"/>
                </a:solidFill>
                <a:latin typeface="Corbel" panose="020B0503020204020204" pitchFamily="34" charset="0"/>
              </a:rPr>
              <a:t>Word + fichiers image + fichiers table + </a:t>
            </a:r>
            <a:r>
              <a:rPr lang="fr-FR" sz="3200" i="1" dirty="0" err="1">
                <a:solidFill>
                  <a:srgbClr val="ED7D31"/>
                </a:solidFill>
                <a:latin typeface="Corbel" panose="020B0503020204020204" pitchFamily="34" charset="0"/>
              </a:rPr>
              <a:t>supplementary</a:t>
            </a:r>
            <a:r>
              <a:rPr lang="fr-FR" sz="3200" i="1" dirty="0">
                <a:solidFill>
                  <a:srgbClr val="ED7D31"/>
                </a:solidFill>
                <a:latin typeface="Corbel" panose="020B0503020204020204" pitchFamily="34" charset="0"/>
              </a:rPr>
              <a:t> </a:t>
            </a:r>
            <a:r>
              <a:rPr lang="fr-FR" sz="3200" i="1" dirty="0" err="1">
                <a:solidFill>
                  <a:srgbClr val="ED7D31"/>
                </a:solidFill>
                <a:latin typeface="Corbel" panose="020B0503020204020204" pitchFamily="34" charset="0"/>
              </a:rPr>
              <a:t>material</a:t>
            </a:r>
            <a:endParaRPr lang="fr-FR" sz="3200" i="1" dirty="0">
              <a:solidFill>
                <a:srgbClr val="ED7D31"/>
              </a:solidFill>
              <a:latin typeface="Corbel" panose="020B0503020204020204" pitchFamily="34" charset="0"/>
            </a:endParaRPr>
          </a:p>
        </p:txBody>
      </p:sp>
      <p:grpSp>
        <p:nvGrpSpPr>
          <p:cNvPr id="8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8727433" y="4454289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9" name="Chevron 8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 dirty="0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0" name="Chevron 9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 dirty="0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9275502" y="4339418"/>
            <a:ext cx="27432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u="sng" dirty="0">
                <a:solidFill>
                  <a:prstClr val="black"/>
                </a:solidFill>
                <a:latin typeface="Corbel" panose="020B0503020204020204" pitchFamily="34" charset="0"/>
                <a:hlinkClick r:id="rId3"/>
              </a:rPr>
              <a:t>Direct2AAM</a:t>
            </a:r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</a:rPr>
              <a:t> : mode d’emploi pour récupérer la dernière version de vos manuscrits sur les systèmes de soumission d’articles des éditeurs</a:t>
            </a:r>
            <a:endParaRPr lang="fr-FR" sz="2000" dirty="0">
              <a:solidFill>
                <a:srgbClr val="FF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498947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46759" y="114707"/>
            <a:ext cx="10515600" cy="1325563"/>
          </a:xfrm>
        </p:spPr>
        <p:txBody>
          <a:bodyPr/>
          <a:lstStyle/>
          <a:p>
            <a:r>
              <a:rPr lang="fr-FR" dirty="0" smtClean="0"/>
              <a:t>Embargo?</a:t>
            </a:r>
            <a:endParaRPr lang="fr-FR" dirty="0"/>
          </a:p>
        </p:txBody>
      </p:sp>
      <p:sp>
        <p:nvSpPr>
          <p:cNvPr id="15" name="Rectangle 14"/>
          <p:cNvSpPr/>
          <p:nvPr/>
        </p:nvSpPr>
        <p:spPr>
          <a:xfrm>
            <a:off x="746759" y="1131103"/>
            <a:ext cx="1102389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000" dirty="0" smtClean="0">
                <a:latin typeface="Corbel" panose="020B0503020204020204" pitchFamily="34" charset="0"/>
              </a:rPr>
              <a:t>L’embargo correspond à la </a:t>
            </a:r>
            <a:r>
              <a:rPr lang="fr-FR" sz="2000" b="1" dirty="0" smtClean="0">
                <a:latin typeface="Corbel" panose="020B0503020204020204" pitchFamily="34" charset="0"/>
              </a:rPr>
              <a:t>période d’exclusivité de la diffusion </a:t>
            </a:r>
            <a:r>
              <a:rPr lang="fr-FR" sz="2000" dirty="0" smtClean="0">
                <a:latin typeface="Corbel" panose="020B0503020204020204" pitchFamily="34" charset="0"/>
              </a:rPr>
              <a:t>que se réserve un éditeur.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000" dirty="0" smtClean="0">
                <a:latin typeface="Corbel" panose="020B0503020204020204" pitchFamily="34" charset="0"/>
              </a:rPr>
              <a:t>Pendant cette période, le texte intégral déposé dans une archive ouverte ne peut pas être en libre </a:t>
            </a:r>
            <a:r>
              <a:rPr lang="fr-FR" sz="2000" dirty="0">
                <a:latin typeface="Corbel" panose="020B0503020204020204" pitchFamily="34" charset="0"/>
              </a:rPr>
              <a:t>accès. Les archives ouvertes permettent de paramétrer cet embargo pour que </a:t>
            </a:r>
            <a:r>
              <a:rPr lang="fr-FR" sz="2000" dirty="0" smtClean="0">
                <a:latin typeface="Corbel" panose="020B0503020204020204" pitchFamily="34" charset="0"/>
              </a:rPr>
              <a:t>:</a:t>
            </a:r>
          </a:p>
          <a:p>
            <a:pPr marL="800100" lvl="1" indent="-342900">
              <a:buFont typeface="Corbel" panose="020B0503020204020204" pitchFamily="34" charset="0"/>
              <a:buChar char="›"/>
            </a:pPr>
            <a:r>
              <a:rPr lang="fr-FR" sz="2000" dirty="0" smtClean="0">
                <a:latin typeface="Corbel" panose="020B0503020204020204" pitchFamily="34" charset="0"/>
              </a:rPr>
              <a:t>le fichier devienne automatiquement visible à une date donnée, </a:t>
            </a:r>
          </a:p>
          <a:p>
            <a:pPr marL="800100" lvl="1" indent="-342900">
              <a:buFont typeface="Corbel" panose="020B0503020204020204" pitchFamily="34" charset="0"/>
              <a:buChar char="›"/>
            </a:pPr>
            <a:r>
              <a:rPr lang="fr-FR" sz="2000" dirty="0" smtClean="0">
                <a:latin typeface="Corbel" panose="020B0503020204020204" pitchFamily="34" charset="0"/>
              </a:rPr>
              <a:t>il puisse être demandé sous forme de tiré à part pendant la période d’embargo.</a:t>
            </a:r>
            <a:endParaRPr lang="fr-FR" sz="2000" dirty="0">
              <a:latin typeface="Corbel" panose="020B0503020204020204" pitchFamily="34" charset="0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759" y="2820028"/>
            <a:ext cx="11013531" cy="3550694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smtClean="0"/>
              <a:t>F. Flamerie - Le libre accès en bref - 2022-05-17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2</a:t>
            </a:fld>
            <a:endParaRPr lang="fr-FR"/>
          </a:p>
        </p:txBody>
      </p:sp>
      <p:sp>
        <p:nvSpPr>
          <p:cNvPr id="4" name="Rectangle 3"/>
          <p:cNvSpPr/>
          <p:nvPr/>
        </p:nvSpPr>
        <p:spPr>
          <a:xfrm>
            <a:off x="746759" y="6405447"/>
            <a:ext cx="1115568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fr-FR" dirty="0" smtClean="0">
                <a:latin typeface="Corbel" panose="020B0503020204020204" pitchFamily="34" charset="0"/>
              </a:rPr>
              <a:t>Afficher cet article dans HAL : </a:t>
            </a:r>
            <a:r>
              <a:rPr lang="fr-FR" altLang="fr-FR" dirty="0">
                <a:latin typeface="Corbel" panose="020B0503020204020204" pitchFamily="34" charset="0"/>
                <a:hlinkClick r:id="rId4"/>
              </a:rPr>
              <a:t>https://</a:t>
            </a:r>
            <a:r>
              <a:rPr lang="fr-FR" altLang="fr-FR" dirty="0" smtClean="0">
                <a:latin typeface="Corbel" panose="020B0503020204020204" pitchFamily="34" charset="0"/>
                <a:hlinkClick r:id="rId4"/>
              </a:rPr>
              <a:t>www.hal.inserm.fr/inserm-03593970</a:t>
            </a:r>
            <a:r>
              <a:rPr lang="fr-FR" altLang="fr-FR" dirty="0" smtClean="0">
                <a:latin typeface="Corbel" panose="020B0503020204020204" pitchFamily="34" charset="0"/>
              </a:rPr>
              <a:t> </a:t>
            </a:r>
            <a:endParaRPr lang="fr-FR" altLang="fr-FR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4572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905" y="198124"/>
            <a:ext cx="2183442" cy="302322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9001055" cy="2852737"/>
          </a:xfrm>
        </p:spPr>
        <p:txBody>
          <a:bodyPr/>
          <a:lstStyle/>
          <a:p>
            <a:r>
              <a:rPr lang="fr-FR" dirty="0" smtClean="0"/>
              <a:t>Dépôt dans Oskar Bordeaux au BPH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3 options pour le dépôt de vos articles</a:t>
            </a:r>
          </a:p>
          <a:p>
            <a:r>
              <a:rPr lang="fr-FR" dirty="0" smtClean="0"/>
              <a:t>Démo du dépôt d’un article en texte intégral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3533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66051" y="13833"/>
            <a:ext cx="10515600" cy="1325563"/>
          </a:xfrm>
        </p:spPr>
        <p:txBody>
          <a:bodyPr/>
          <a:lstStyle/>
          <a:p>
            <a:r>
              <a:rPr lang="fr-FR" dirty="0"/>
              <a:t>3 options de dépôt dans Oskar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616303" y="1184836"/>
            <a:ext cx="9096657" cy="2086684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Dot"/>
          </a:ln>
        </p:spPr>
        <p:txBody>
          <a:bodyPr wrap="square" lIns="144000" tIns="144000" rIns="144000" bIns="144000" rtlCol="0" anchor="ctr">
            <a:noAutofit/>
          </a:bodyPr>
          <a:lstStyle/>
          <a:p>
            <a:r>
              <a:rPr lang="fr-FR" sz="5400" b="1" i="1" dirty="0" smtClean="0">
                <a:solidFill>
                  <a:srgbClr val="FF0000"/>
                </a:solidFill>
                <a:latin typeface="Corbel" panose="020B0503020204020204" pitchFamily="34" charset="0"/>
              </a:rPr>
              <a:t>Infos internes à l’unité</a:t>
            </a:r>
            <a:endParaRPr lang="fr-FR" sz="5400" b="1" i="1" dirty="0">
              <a:solidFill>
                <a:srgbClr val="FF0000"/>
              </a:solidFill>
              <a:latin typeface="Corbel" panose="020B0503020204020204" pitchFamily="34" charset="0"/>
            </a:endParaRPr>
          </a:p>
        </p:txBody>
      </p:sp>
      <p:grpSp>
        <p:nvGrpSpPr>
          <p:cNvPr id="8" name="File_PDF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895840" y="1184836"/>
            <a:ext cx="1821649" cy="2061147"/>
            <a:chOff x="3337" y="1591"/>
            <a:chExt cx="1004" cy="1136"/>
          </a:xfrm>
          <a:solidFill>
            <a:schemeClr val="accent2"/>
          </a:solidFill>
        </p:grpSpPr>
        <p:sp>
          <p:nvSpPr>
            <p:cNvPr id="10" name="Freeform 273"/>
            <p:cNvSpPr>
              <a:spLocks/>
            </p:cNvSpPr>
            <p:nvPr/>
          </p:nvSpPr>
          <p:spPr bwMode="auto">
            <a:xfrm>
              <a:off x="3512" y="2124"/>
              <a:ext cx="90" cy="103"/>
            </a:xfrm>
            <a:custGeom>
              <a:avLst/>
              <a:gdLst>
                <a:gd name="T0" fmla="*/ 545 w 545"/>
                <a:gd name="T1" fmla="*/ 296 h 625"/>
                <a:gd name="T2" fmla="*/ 189 w 545"/>
                <a:gd name="T3" fmla="*/ 0 h 625"/>
                <a:gd name="T4" fmla="*/ 0 w 545"/>
                <a:gd name="T5" fmla="*/ 18 h 625"/>
                <a:gd name="T6" fmla="*/ 0 w 545"/>
                <a:gd name="T7" fmla="*/ 613 h 625"/>
                <a:gd name="T8" fmla="*/ 153 w 545"/>
                <a:gd name="T9" fmla="*/ 625 h 625"/>
                <a:gd name="T10" fmla="*/ 545 w 545"/>
                <a:gd name="T11" fmla="*/ 296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5" h="625">
                  <a:moveTo>
                    <a:pt x="545" y="296"/>
                  </a:moveTo>
                  <a:cubicBezTo>
                    <a:pt x="545" y="110"/>
                    <a:pt x="416" y="0"/>
                    <a:pt x="189" y="0"/>
                  </a:cubicBezTo>
                  <a:cubicBezTo>
                    <a:pt x="96" y="0"/>
                    <a:pt x="33" y="9"/>
                    <a:pt x="0" y="18"/>
                  </a:cubicBezTo>
                  <a:lnTo>
                    <a:pt x="0" y="613"/>
                  </a:lnTo>
                  <a:cubicBezTo>
                    <a:pt x="39" y="622"/>
                    <a:pt x="87" y="625"/>
                    <a:pt x="153" y="625"/>
                  </a:cubicBezTo>
                  <a:cubicBezTo>
                    <a:pt x="395" y="625"/>
                    <a:pt x="545" y="502"/>
                    <a:pt x="545" y="29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1" name="Freeform 274"/>
            <p:cNvSpPr>
              <a:spLocks/>
            </p:cNvSpPr>
            <p:nvPr/>
          </p:nvSpPr>
          <p:spPr bwMode="auto">
            <a:xfrm>
              <a:off x="3800" y="2125"/>
              <a:ext cx="139" cy="223"/>
            </a:xfrm>
            <a:custGeom>
              <a:avLst/>
              <a:gdLst>
                <a:gd name="T0" fmla="*/ 207 w 844"/>
                <a:gd name="T1" fmla="*/ 0 h 1349"/>
                <a:gd name="T2" fmla="*/ 0 w 844"/>
                <a:gd name="T3" fmla="*/ 18 h 1349"/>
                <a:gd name="T4" fmla="*/ 0 w 844"/>
                <a:gd name="T5" fmla="*/ 1337 h 1349"/>
                <a:gd name="T6" fmla="*/ 159 w 844"/>
                <a:gd name="T7" fmla="*/ 1346 h 1349"/>
                <a:gd name="T8" fmla="*/ 841 w 844"/>
                <a:gd name="T9" fmla="*/ 640 h 1349"/>
                <a:gd name="T10" fmla="*/ 207 w 844"/>
                <a:gd name="T11" fmla="*/ 0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4" h="1349">
                  <a:moveTo>
                    <a:pt x="207" y="0"/>
                  </a:moveTo>
                  <a:cubicBezTo>
                    <a:pt x="105" y="0"/>
                    <a:pt x="39" y="9"/>
                    <a:pt x="0" y="18"/>
                  </a:cubicBezTo>
                  <a:lnTo>
                    <a:pt x="0" y="1337"/>
                  </a:lnTo>
                  <a:cubicBezTo>
                    <a:pt x="39" y="1346"/>
                    <a:pt x="102" y="1346"/>
                    <a:pt x="159" y="1346"/>
                  </a:cubicBezTo>
                  <a:cubicBezTo>
                    <a:pt x="572" y="1349"/>
                    <a:pt x="841" y="1121"/>
                    <a:pt x="841" y="640"/>
                  </a:cubicBezTo>
                  <a:cubicBezTo>
                    <a:pt x="844" y="221"/>
                    <a:pt x="599" y="0"/>
                    <a:pt x="2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2" name="Freeform 275"/>
            <p:cNvSpPr>
              <a:spLocks noEditPoints="1"/>
            </p:cNvSpPr>
            <p:nvPr/>
          </p:nvSpPr>
          <p:spPr bwMode="auto">
            <a:xfrm>
              <a:off x="3337" y="1591"/>
              <a:ext cx="1004" cy="1136"/>
            </a:xfrm>
            <a:custGeom>
              <a:avLst/>
              <a:gdLst>
                <a:gd name="T0" fmla="*/ 5546 w 6097"/>
                <a:gd name="T1" fmla="*/ 2463 h 6885"/>
                <a:gd name="T2" fmla="*/ 5545 w 6097"/>
                <a:gd name="T3" fmla="*/ 1650 h 6885"/>
                <a:gd name="T4" fmla="*/ 4185 w 6097"/>
                <a:gd name="T5" fmla="*/ 46 h 6885"/>
                <a:gd name="T6" fmla="*/ 4157 w 6097"/>
                <a:gd name="T7" fmla="*/ 23 h 6885"/>
                <a:gd name="T8" fmla="*/ 4122 w 6097"/>
                <a:gd name="T9" fmla="*/ 6 h 6885"/>
                <a:gd name="T10" fmla="*/ 4083 w 6097"/>
                <a:gd name="T11" fmla="*/ 0 h 6885"/>
                <a:gd name="T12" fmla="*/ 551 w 6097"/>
                <a:gd name="T13" fmla="*/ 270 h 6885"/>
                <a:gd name="T14" fmla="*/ 386 w 6097"/>
                <a:gd name="T15" fmla="*/ 2463 h 6885"/>
                <a:gd name="T16" fmla="*/ 0 w 6097"/>
                <a:gd name="T17" fmla="*/ 4855 h 6885"/>
                <a:gd name="T18" fmla="*/ 551 w 6097"/>
                <a:gd name="T19" fmla="*/ 5241 h 6885"/>
                <a:gd name="T20" fmla="*/ 821 w 6097"/>
                <a:gd name="T21" fmla="*/ 6885 h 6885"/>
                <a:gd name="T22" fmla="*/ 5546 w 6097"/>
                <a:gd name="T23" fmla="*/ 6615 h 6885"/>
                <a:gd name="T24" fmla="*/ 5711 w 6097"/>
                <a:gd name="T25" fmla="*/ 5241 h 6885"/>
                <a:gd name="T26" fmla="*/ 6097 w 6097"/>
                <a:gd name="T27" fmla="*/ 2849 h 6885"/>
                <a:gd name="T28" fmla="*/ 821 w 6097"/>
                <a:gd name="T29" fmla="*/ 270 h 6885"/>
                <a:gd name="T30" fmla="*/ 3948 w 6097"/>
                <a:gd name="T31" fmla="*/ 1651 h 6885"/>
                <a:gd name="T32" fmla="*/ 5276 w 6097"/>
                <a:gd name="T33" fmla="*/ 1786 h 6885"/>
                <a:gd name="T34" fmla="*/ 821 w 6097"/>
                <a:gd name="T35" fmla="*/ 2463 h 6885"/>
                <a:gd name="T36" fmla="*/ 4135 w 6097"/>
                <a:gd name="T37" fmla="*/ 3863 h 6885"/>
                <a:gd name="T38" fmla="*/ 2870 w 6097"/>
                <a:gd name="T39" fmla="*/ 4940 h 6885"/>
                <a:gd name="T40" fmla="*/ 2353 w 6097"/>
                <a:gd name="T41" fmla="*/ 2930 h 6885"/>
                <a:gd name="T42" fmla="*/ 3795 w 6097"/>
                <a:gd name="T43" fmla="*/ 3103 h 6885"/>
                <a:gd name="T44" fmla="*/ 615 w 6097"/>
                <a:gd name="T45" fmla="*/ 4919 h 6885"/>
                <a:gd name="T46" fmla="*/ 1231 w 6097"/>
                <a:gd name="T47" fmla="*/ 2888 h 6885"/>
                <a:gd name="T48" fmla="*/ 2062 w 6097"/>
                <a:gd name="T49" fmla="*/ 3516 h 6885"/>
                <a:gd name="T50" fmla="*/ 1222 w 6097"/>
                <a:gd name="T51" fmla="*/ 4207 h 6885"/>
                <a:gd name="T52" fmla="*/ 1066 w 6097"/>
                <a:gd name="T53" fmla="*/ 4919 h 6885"/>
                <a:gd name="T54" fmla="*/ 5276 w 6097"/>
                <a:gd name="T55" fmla="*/ 6542 h 6885"/>
                <a:gd name="T56" fmla="*/ 821 w 6097"/>
                <a:gd name="T57" fmla="*/ 5241 h 6885"/>
                <a:gd name="T58" fmla="*/ 5276 w 6097"/>
                <a:gd name="T59" fmla="*/ 6542 h 6885"/>
                <a:gd name="T60" fmla="*/ 4892 w 6097"/>
                <a:gd name="T61" fmla="*/ 3277 h 6885"/>
                <a:gd name="T62" fmla="*/ 5616 w 6097"/>
                <a:gd name="T63" fmla="*/ 3737 h 6885"/>
                <a:gd name="T64" fmla="*/ 4892 w 6097"/>
                <a:gd name="T65" fmla="*/ 4108 h 6885"/>
                <a:gd name="T66" fmla="*/ 4435 w 6097"/>
                <a:gd name="T67" fmla="*/ 4919 h 6885"/>
                <a:gd name="T68" fmla="*/ 5667 w 6097"/>
                <a:gd name="T69" fmla="*/ 2903 h 6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97" h="6885">
                  <a:moveTo>
                    <a:pt x="5711" y="2463"/>
                  </a:moveTo>
                  <a:lnTo>
                    <a:pt x="5546" y="2463"/>
                  </a:lnTo>
                  <a:lnTo>
                    <a:pt x="5546" y="1665"/>
                  </a:lnTo>
                  <a:cubicBezTo>
                    <a:pt x="5546" y="1660"/>
                    <a:pt x="5545" y="1655"/>
                    <a:pt x="5545" y="1650"/>
                  </a:cubicBezTo>
                  <a:cubicBezTo>
                    <a:pt x="5544" y="1618"/>
                    <a:pt x="5534" y="1587"/>
                    <a:pt x="5513" y="1563"/>
                  </a:cubicBezTo>
                  <a:lnTo>
                    <a:pt x="4185" y="46"/>
                  </a:lnTo>
                  <a:cubicBezTo>
                    <a:pt x="4185" y="46"/>
                    <a:pt x="4184" y="46"/>
                    <a:pt x="4184" y="45"/>
                  </a:cubicBezTo>
                  <a:cubicBezTo>
                    <a:pt x="4176" y="36"/>
                    <a:pt x="4167" y="29"/>
                    <a:pt x="4157" y="23"/>
                  </a:cubicBezTo>
                  <a:cubicBezTo>
                    <a:pt x="4154" y="21"/>
                    <a:pt x="4151" y="19"/>
                    <a:pt x="4148" y="17"/>
                  </a:cubicBezTo>
                  <a:cubicBezTo>
                    <a:pt x="4140" y="13"/>
                    <a:pt x="4131" y="9"/>
                    <a:pt x="4122" y="6"/>
                  </a:cubicBezTo>
                  <a:cubicBezTo>
                    <a:pt x="4119" y="6"/>
                    <a:pt x="4117" y="5"/>
                    <a:pt x="4114" y="4"/>
                  </a:cubicBezTo>
                  <a:cubicBezTo>
                    <a:pt x="4104" y="1"/>
                    <a:pt x="4094" y="0"/>
                    <a:pt x="4083" y="0"/>
                  </a:cubicBezTo>
                  <a:lnTo>
                    <a:pt x="821" y="0"/>
                  </a:lnTo>
                  <a:cubicBezTo>
                    <a:pt x="672" y="0"/>
                    <a:pt x="551" y="121"/>
                    <a:pt x="551" y="270"/>
                  </a:cubicBezTo>
                  <a:lnTo>
                    <a:pt x="551" y="2463"/>
                  </a:lnTo>
                  <a:lnTo>
                    <a:pt x="386" y="2463"/>
                  </a:lnTo>
                  <a:cubicBezTo>
                    <a:pt x="173" y="2463"/>
                    <a:pt x="0" y="2635"/>
                    <a:pt x="0" y="2849"/>
                  </a:cubicBezTo>
                  <a:lnTo>
                    <a:pt x="0" y="4855"/>
                  </a:lnTo>
                  <a:cubicBezTo>
                    <a:pt x="0" y="5068"/>
                    <a:pt x="173" y="5241"/>
                    <a:pt x="386" y="5241"/>
                  </a:cubicBezTo>
                  <a:lnTo>
                    <a:pt x="551" y="5241"/>
                  </a:lnTo>
                  <a:lnTo>
                    <a:pt x="551" y="6615"/>
                  </a:lnTo>
                  <a:cubicBezTo>
                    <a:pt x="551" y="6764"/>
                    <a:pt x="672" y="6885"/>
                    <a:pt x="821" y="6885"/>
                  </a:cubicBezTo>
                  <a:lnTo>
                    <a:pt x="5276" y="6885"/>
                  </a:lnTo>
                  <a:cubicBezTo>
                    <a:pt x="5425" y="6885"/>
                    <a:pt x="5546" y="6764"/>
                    <a:pt x="5546" y="6615"/>
                  </a:cubicBezTo>
                  <a:lnTo>
                    <a:pt x="5546" y="5241"/>
                  </a:lnTo>
                  <a:lnTo>
                    <a:pt x="5711" y="5241"/>
                  </a:lnTo>
                  <a:cubicBezTo>
                    <a:pt x="5924" y="5241"/>
                    <a:pt x="6097" y="5068"/>
                    <a:pt x="6097" y="4855"/>
                  </a:cubicBezTo>
                  <a:lnTo>
                    <a:pt x="6097" y="2849"/>
                  </a:lnTo>
                  <a:cubicBezTo>
                    <a:pt x="6097" y="2635"/>
                    <a:pt x="5924" y="2463"/>
                    <a:pt x="5711" y="2463"/>
                  </a:cubicBezTo>
                  <a:close/>
                  <a:moveTo>
                    <a:pt x="821" y="270"/>
                  </a:moveTo>
                  <a:lnTo>
                    <a:pt x="3948" y="270"/>
                  </a:lnTo>
                  <a:lnTo>
                    <a:pt x="3948" y="1651"/>
                  </a:lnTo>
                  <a:cubicBezTo>
                    <a:pt x="3948" y="1726"/>
                    <a:pt x="4009" y="1786"/>
                    <a:pt x="4083" y="1786"/>
                  </a:cubicBezTo>
                  <a:lnTo>
                    <a:pt x="5276" y="1786"/>
                  </a:lnTo>
                  <a:lnTo>
                    <a:pt x="5276" y="2463"/>
                  </a:lnTo>
                  <a:lnTo>
                    <a:pt x="821" y="2463"/>
                  </a:lnTo>
                  <a:lnTo>
                    <a:pt x="821" y="270"/>
                  </a:lnTo>
                  <a:close/>
                  <a:moveTo>
                    <a:pt x="4135" y="3863"/>
                  </a:moveTo>
                  <a:cubicBezTo>
                    <a:pt x="4135" y="4249"/>
                    <a:pt x="3995" y="4515"/>
                    <a:pt x="3800" y="4679"/>
                  </a:cubicBezTo>
                  <a:cubicBezTo>
                    <a:pt x="3588" y="4856"/>
                    <a:pt x="3265" y="4940"/>
                    <a:pt x="2870" y="4940"/>
                  </a:cubicBezTo>
                  <a:cubicBezTo>
                    <a:pt x="2634" y="4940"/>
                    <a:pt x="2467" y="4925"/>
                    <a:pt x="2353" y="4910"/>
                  </a:cubicBezTo>
                  <a:lnTo>
                    <a:pt x="2353" y="2930"/>
                  </a:lnTo>
                  <a:cubicBezTo>
                    <a:pt x="2520" y="2903"/>
                    <a:pt x="2739" y="2888"/>
                    <a:pt x="2969" y="2888"/>
                  </a:cubicBezTo>
                  <a:cubicBezTo>
                    <a:pt x="3352" y="2888"/>
                    <a:pt x="3600" y="2957"/>
                    <a:pt x="3795" y="3103"/>
                  </a:cubicBezTo>
                  <a:cubicBezTo>
                    <a:pt x="4004" y="3259"/>
                    <a:pt x="4135" y="3507"/>
                    <a:pt x="4135" y="3863"/>
                  </a:cubicBezTo>
                  <a:close/>
                  <a:moveTo>
                    <a:pt x="615" y="4919"/>
                  </a:moveTo>
                  <a:lnTo>
                    <a:pt x="615" y="2930"/>
                  </a:lnTo>
                  <a:cubicBezTo>
                    <a:pt x="755" y="2906"/>
                    <a:pt x="953" y="2888"/>
                    <a:pt x="1231" y="2888"/>
                  </a:cubicBezTo>
                  <a:cubicBezTo>
                    <a:pt x="1512" y="2888"/>
                    <a:pt x="1713" y="2942"/>
                    <a:pt x="1847" y="3049"/>
                  </a:cubicBezTo>
                  <a:cubicBezTo>
                    <a:pt x="1976" y="3151"/>
                    <a:pt x="2062" y="3319"/>
                    <a:pt x="2062" y="3516"/>
                  </a:cubicBezTo>
                  <a:cubicBezTo>
                    <a:pt x="2062" y="3713"/>
                    <a:pt x="1997" y="3881"/>
                    <a:pt x="1877" y="3994"/>
                  </a:cubicBezTo>
                  <a:cubicBezTo>
                    <a:pt x="1721" y="4141"/>
                    <a:pt x="1491" y="4207"/>
                    <a:pt x="1222" y="4207"/>
                  </a:cubicBezTo>
                  <a:cubicBezTo>
                    <a:pt x="1162" y="4207"/>
                    <a:pt x="1108" y="4204"/>
                    <a:pt x="1066" y="4198"/>
                  </a:cubicBezTo>
                  <a:lnTo>
                    <a:pt x="1066" y="4919"/>
                  </a:lnTo>
                  <a:lnTo>
                    <a:pt x="615" y="4919"/>
                  </a:lnTo>
                  <a:close/>
                  <a:moveTo>
                    <a:pt x="5276" y="6542"/>
                  </a:moveTo>
                  <a:lnTo>
                    <a:pt x="821" y="6542"/>
                  </a:lnTo>
                  <a:lnTo>
                    <a:pt x="821" y="5241"/>
                  </a:lnTo>
                  <a:lnTo>
                    <a:pt x="5276" y="5241"/>
                  </a:lnTo>
                  <a:lnTo>
                    <a:pt x="5276" y="6542"/>
                  </a:lnTo>
                  <a:close/>
                  <a:moveTo>
                    <a:pt x="5667" y="3277"/>
                  </a:moveTo>
                  <a:lnTo>
                    <a:pt x="4892" y="3277"/>
                  </a:lnTo>
                  <a:lnTo>
                    <a:pt x="4892" y="3737"/>
                  </a:lnTo>
                  <a:lnTo>
                    <a:pt x="5616" y="3737"/>
                  </a:lnTo>
                  <a:lnTo>
                    <a:pt x="5616" y="4108"/>
                  </a:lnTo>
                  <a:lnTo>
                    <a:pt x="4892" y="4108"/>
                  </a:lnTo>
                  <a:lnTo>
                    <a:pt x="4892" y="4919"/>
                  </a:lnTo>
                  <a:lnTo>
                    <a:pt x="4435" y="4919"/>
                  </a:lnTo>
                  <a:lnTo>
                    <a:pt x="4435" y="2903"/>
                  </a:lnTo>
                  <a:lnTo>
                    <a:pt x="5667" y="2903"/>
                  </a:lnTo>
                  <a:lnTo>
                    <a:pt x="5667" y="32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</p:grp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69900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846062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5904" y="60960"/>
            <a:ext cx="10515600" cy="1325563"/>
          </a:xfrm>
        </p:spPr>
        <p:txBody>
          <a:bodyPr/>
          <a:lstStyle/>
          <a:p>
            <a:r>
              <a:rPr lang="fr-FR" dirty="0"/>
              <a:t>Démo d’un dépôt dans Oska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15904" y="1157885"/>
            <a:ext cx="11331782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Le Grand, Q.,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Satizabal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, C. L.,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Sargurupremraj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, M.,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Mishra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, A.,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Soumaré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, A., …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Debette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, S. (2021).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Genomic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Studies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Across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 the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Lifespan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 Point to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Early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Mechanisms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Determining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 </a:t>
            </a:r>
            <a:r>
              <a:rPr lang="fr-FR" sz="1600" dirty="0" err="1">
                <a:solidFill>
                  <a:prstClr val="black"/>
                </a:solidFill>
                <a:latin typeface="Corbel" panose="020B0503020204020204" pitchFamily="34" charset="0"/>
              </a:rPr>
              <a:t>Subcortical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 Volumes. </a:t>
            </a:r>
            <a:r>
              <a:rPr lang="fr-FR" sz="1600" i="1" dirty="0" err="1">
                <a:solidFill>
                  <a:prstClr val="black"/>
                </a:solidFill>
                <a:latin typeface="Corbel" panose="020B0503020204020204" pitchFamily="34" charset="0"/>
              </a:rPr>
              <a:t>Biological</a:t>
            </a:r>
            <a:r>
              <a:rPr lang="fr-FR" sz="1600" i="1" dirty="0">
                <a:solidFill>
                  <a:prstClr val="black"/>
                </a:solidFill>
                <a:latin typeface="Corbel" panose="020B0503020204020204" pitchFamily="34" charset="0"/>
              </a:rPr>
              <a:t> </a:t>
            </a:r>
            <a:r>
              <a:rPr lang="fr-FR" sz="1600" i="1" dirty="0" err="1">
                <a:solidFill>
                  <a:prstClr val="black"/>
                </a:solidFill>
                <a:latin typeface="Corbel" panose="020B0503020204020204" pitchFamily="34" charset="0"/>
              </a:rPr>
              <a:t>psychiatry</a:t>
            </a:r>
            <a:r>
              <a:rPr lang="fr-FR" sz="1600" i="1" dirty="0">
                <a:solidFill>
                  <a:prstClr val="black"/>
                </a:solidFill>
                <a:latin typeface="Corbel" panose="020B0503020204020204" pitchFamily="34" charset="0"/>
              </a:rPr>
              <a:t>. Cognitive neuroscience and </a:t>
            </a:r>
            <a:r>
              <a:rPr lang="fr-FR" sz="1600" i="1" dirty="0" err="1">
                <a:solidFill>
                  <a:prstClr val="black"/>
                </a:solidFill>
                <a:latin typeface="Corbel" panose="020B0503020204020204" pitchFamily="34" charset="0"/>
              </a:rPr>
              <a:t>neuroimaging</a:t>
            </a:r>
            <a:r>
              <a:rPr lang="fr-FR" sz="1600" i="1" dirty="0">
                <a:solidFill>
                  <a:prstClr val="black"/>
                </a:solidFill>
                <a:latin typeface="Corbel" panose="020B0503020204020204" pitchFamily="34" charset="0"/>
              </a:rPr>
              <a:t>. </a:t>
            </a: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  <a:hlinkClick r:id="rId3"/>
              </a:rPr>
              <a:t>https://doi.org/10.1016/j.bpsc.2021.10.011</a:t>
            </a:r>
            <a:endParaRPr lang="fr-FR" sz="1600" dirty="0">
              <a:solidFill>
                <a:prstClr val="black"/>
              </a:solidFill>
              <a:latin typeface="Corbel" panose="020B0503020204020204" pitchFamily="34" charset="0"/>
            </a:endParaRPr>
          </a:p>
          <a:p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PMID: 34700051</a:t>
            </a:r>
          </a:p>
          <a:p>
            <a:endParaRPr lang="fr-FR" sz="1600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38600" y="6417310"/>
            <a:ext cx="469900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610600" y="6417310"/>
            <a:ext cx="2743200" cy="365125"/>
          </a:xfrm>
        </p:spPr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15904" y="2529748"/>
            <a:ext cx="510097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Points d’attention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Version qui peut être déposée : </a:t>
            </a:r>
            <a:r>
              <a:rPr lang="fr-FR" sz="2400" b="1" dirty="0">
                <a:solidFill>
                  <a:prstClr val="black"/>
                </a:solidFill>
                <a:latin typeface="Corbel" panose="020B0503020204020204" pitchFamily="34" charset="0"/>
              </a:rPr>
              <a:t>manuscrit accepté</a:t>
            </a:r>
            <a:endParaRPr lang="fr-FR" sz="2400" dirty="0">
              <a:solidFill>
                <a:prstClr val="black"/>
              </a:solidFill>
              <a:latin typeface="Corbel" panose="020B0503020204020204" pitchFamily="34" charset="0"/>
            </a:endParaRP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Paramétrer un </a:t>
            </a:r>
            <a:r>
              <a:rPr lang="fr-FR" sz="2400" b="1" dirty="0">
                <a:solidFill>
                  <a:prstClr val="black"/>
                </a:solidFill>
                <a:latin typeface="Corbel" panose="020B0503020204020204" pitchFamily="34" charset="0"/>
              </a:rPr>
              <a:t>embargo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 de 6 mois, à partir de la date de publication en ligne = </a:t>
            </a:r>
            <a:r>
              <a:rPr lang="fr-FR" sz="2400" b="1" dirty="0">
                <a:solidFill>
                  <a:prstClr val="black"/>
                </a:solidFill>
                <a:latin typeface="Corbel" panose="020B0503020204020204" pitchFamily="34" charset="0"/>
              </a:rPr>
              <a:t>2022-04-23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Saisir les financements ANR et Union européenne</a:t>
            </a:r>
          </a:p>
          <a:p>
            <a:pPr marL="800100" lvl="1" indent="-342900">
              <a:buFont typeface="Corbel" panose="020B0503020204020204" pitchFamily="34" charset="0"/>
              <a:buChar char="›"/>
            </a:pP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ANR-10-COHO-0005 et ANR-18-RHUS-0002</a:t>
            </a:r>
          </a:p>
          <a:p>
            <a:pPr marL="800100" lvl="1" indent="-342900">
              <a:buFont typeface="Corbel" panose="020B0503020204020204" pitchFamily="34" charset="0"/>
              <a:buChar char="›"/>
            </a:pPr>
            <a:r>
              <a:rPr lang="fr-FR" sz="1600" dirty="0">
                <a:solidFill>
                  <a:prstClr val="black"/>
                </a:solidFill>
                <a:latin typeface="Corbel" panose="020B0503020204020204" pitchFamily="34" charset="0"/>
              </a:rPr>
              <a:t>EU : 640643, 643417, 667375 et 754517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704" y="2574434"/>
            <a:ext cx="6196170" cy="3360043"/>
          </a:xfrm>
          <a:prstGeom prst="rect">
            <a:avLst/>
          </a:prstGeom>
          <a:ln>
            <a:solidFill>
              <a:schemeClr val="accent2"/>
            </a:solidFill>
          </a:ln>
        </p:spPr>
      </p:pic>
      <p:grpSp>
        <p:nvGrpSpPr>
          <p:cNvPr id="23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43E68E00-EA18-49EE-91A7-B065011E5152}"/>
              </a:ext>
            </a:extLst>
          </p:cNvPr>
          <p:cNvGrpSpPr>
            <a:grpSpLocks noChangeAspect="1"/>
          </p:cNvGrpSpPr>
          <p:nvPr/>
        </p:nvGrpSpPr>
        <p:grpSpPr>
          <a:xfrm>
            <a:off x="6635720" y="3351152"/>
            <a:ext cx="881439" cy="873351"/>
            <a:chOff x="6004176" y="1690066"/>
            <a:chExt cx="1039285" cy="1029748"/>
          </a:xfrm>
          <a:solidFill>
            <a:schemeClr val="accent2"/>
          </a:solidFill>
        </p:grpSpPr>
        <p:sp>
          <p:nvSpPr>
            <p:cNvPr id="24" name="Freeform 195">
              <a:extLst>
                <a:ext uri="{FF2B5EF4-FFF2-40B4-BE49-F238E27FC236}">
                  <a16:creationId xmlns:a16="http://schemas.microsoft.com/office/drawing/2014/main" xmlns="" id="{B426E1A2-1601-4CCF-ADA5-FD9317539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25" name="Freeform 196">
              <a:extLst>
                <a:ext uri="{FF2B5EF4-FFF2-40B4-BE49-F238E27FC236}">
                  <a16:creationId xmlns:a16="http://schemas.microsoft.com/office/drawing/2014/main" xmlns="" id="{7CA8E433-9ACF-4A11-B832-05AE8A209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26" name="Freeform 197">
              <a:extLst>
                <a:ext uri="{FF2B5EF4-FFF2-40B4-BE49-F238E27FC236}">
                  <a16:creationId xmlns:a16="http://schemas.microsoft.com/office/drawing/2014/main" xmlns="" id="{B1AA219A-44DC-4DD1-B062-924FC970B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27" name="Freeform 198">
              <a:extLst>
                <a:ext uri="{FF2B5EF4-FFF2-40B4-BE49-F238E27FC236}">
                  <a16:creationId xmlns:a16="http://schemas.microsoft.com/office/drawing/2014/main" xmlns="" id="{D93843A3-5211-4329-AAB5-9A71A272F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5470429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erci pour votre atten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 Des questions?</a:t>
            </a:r>
          </a:p>
          <a:p>
            <a:r>
              <a:rPr lang="fr-FR" dirty="0"/>
              <a:t> Contact </a:t>
            </a:r>
            <a:r>
              <a:rPr lang="fr-FR" dirty="0" smtClean="0"/>
              <a:t>: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68884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5410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90773" y="19313"/>
            <a:ext cx="10515600" cy="1325563"/>
          </a:xfrm>
        </p:spPr>
        <p:txBody>
          <a:bodyPr/>
          <a:lstStyle/>
          <a:p>
            <a:r>
              <a:rPr lang="fr-FR" dirty="0"/>
              <a:t>Programm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90773" y="1344325"/>
            <a:ext cx="8019826" cy="4925265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fr-FR" sz="3600" dirty="0" smtClean="0"/>
              <a:t> </a:t>
            </a:r>
          </a:p>
          <a:p>
            <a:pPr lvl="0">
              <a:lnSpc>
                <a:spcPct val="120000"/>
              </a:lnSpc>
            </a:pPr>
            <a:r>
              <a:rPr lang="fr-FR" sz="3300" dirty="0" smtClean="0"/>
              <a:t> Interface </a:t>
            </a:r>
            <a:r>
              <a:rPr lang="fr-FR" sz="3300" dirty="0"/>
              <a:t>et </a:t>
            </a:r>
            <a:r>
              <a:rPr lang="fr-FR" sz="3300" dirty="0" smtClean="0"/>
              <a:t>fonctionnalités </a:t>
            </a:r>
            <a:r>
              <a:rPr lang="fr-FR" sz="3300" dirty="0"/>
              <a:t>d’Oskar </a:t>
            </a:r>
            <a:r>
              <a:rPr lang="fr-FR" sz="3300" dirty="0" smtClean="0"/>
              <a:t>Bordeaux</a:t>
            </a:r>
          </a:p>
          <a:p>
            <a:pPr lvl="0">
              <a:lnSpc>
                <a:spcPct val="120000"/>
              </a:lnSpc>
            </a:pPr>
            <a:r>
              <a:rPr lang="fr-FR" sz="3300" dirty="0" smtClean="0"/>
              <a:t> Rappel sur les droits de dépôt en archive ouverte</a:t>
            </a:r>
          </a:p>
          <a:p>
            <a:pPr lvl="1">
              <a:lnSpc>
                <a:spcPct val="120000"/>
              </a:lnSpc>
            </a:pPr>
            <a:r>
              <a:rPr lang="fr-FR" sz="3300" dirty="0" smtClean="0"/>
              <a:t>Qu’avez-vous </a:t>
            </a:r>
            <a:r>
              <a:rPr lang="fr-FR" sz="3300" dirty="0"/>
              <a:t>le droit de déposer ? Versions </a:t>
            </a:r>
            <a:r>
              <a:rPr lang="fr-FR" sz="3300" dirty="0" smtClean="0"/>
              <a:t>d’article</a:t>
            </a:r>
          </a:p>
          <a:p>
            <a:pPr lvl="1">
              <a:lnSpc>
                <a:spcPct val="120000"/>
              </a:lnSpc>
            </a:pPr>
            <a:r>
              <a:rPr lang="fr-FR" sz="3300" dirty="0" smtClean="0"/>
              <a:t> </a:t>
            </a:r>
            <a:r>
              <a:rPr lang="fr-FR" sz="3300" dirty="0"/>
              <a:t>Qu’avez-vous le droit de déposer ? </a:t>
            </a:r>
            <a:r>
              <a:rPr lang="fr-FR" sz="3300" dirty="0" smtClean="0"/>
              <a:t>Embargo</a:t>
            </a:r>
            <a:endParaRPr lang="fr-FR" sz="3300" dirty="0"/>
          </a:p>
          <a:p>
            <a:pPr lvl="0">
              <a:lnSpc>
                <a:spcPct val="120000"/>
              </a:lnSpc>
            </a:pPr>
            <a:r>
              <a:rPr lang="fr-FR" sz="3300" dirty="0" smtClean="0"/>
              <a:t> Options </a:t>
            </a:r>
            <a:r>
              <a:rPr lang="fr-FR" sz="3300" dirty="0"/>
              <a:t>de dépôt dans Oskar Bordeaux </a:t>
            </a:r>
            <a:r>
              <a:rPr lang="fr-FR" sz="3300" dirty="0" smtClean="0"/>
              <a:t>au </a:t>
            </a:r>
            <a:r>
              <a:rPr lang="fr-FR" sz="3300" dirty="0"/>
              <a:t>BPH</a:t>
            </a:r>
          </a:p>
          <a:p>
            <a:pPr>
              <a:lnSpc>
                <a:spcPct val="120000"/>
              </a:lnSpc>
            </a:pPr>
            <a:r>
              <a:rPr lang="fr-FR" sz="3300" dirty="0" smtClean="0"/>
              <a:t> Démonstration du </a:t>
            </a:r>
            <a:r>
              <a:rPr lang="fr-FR" sz="3300" dirty="0"/>
              <a:t>dépôt </a:t>
            </a:r>
            <a:r>
              <a:rPr lang="fr-FR" sz="3300" dirty="0" smtClean="0"/>
              <a:t>d’un article </a:t>
            </a:r>
            <a:r>
              <a:rPr lang="fr-FR" sz="3300" dirty="0"/>
              <a:t>en texte intégral dans Oskar </a:t>
            </a:r>
            <a:r>
              <a:rPr lang="fr-FR" sz="3300" dirty="0" smtClean="0"/>
              <a:t>Bordeaux</a:t>
            </a:r>
            <a:endParaRPr lang="fr-FR" sz="33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57200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arenthèse fermante 6"/>
          <p:cNvSpPr/>
          <p:nvPr/>
        </p:nvSpPr>
        <p:spPr>
          <a:xfrm>
            <a:off x="7992932" y="3044044"/>
            <a:ext cx="288736" cy="1354955"/>
          </a:xfrm>
          <a:prstGeom prst="rightBracket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8486886" y="2946322"/>
            <a:ext cx="344708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</a:rPr>
              <a:t>Ces 2 conditions sont le plus souvent liées et cumulatives.</a:t>
            </a:r>
          </a:p>
          <a:p>
            <a:pPr marL="342900" indent="-342900">
              <a:buFont typeface="Corbel" panose="020B0503020204020204" pitchFamily="34" charset="0"/>
              <a:buChar char="›"/>
            </a:pPr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</a:rPr>
              <a:t>Version d’article dont le dépôt est autorisé : manuscrit soumis, manuscrit accepté et/ou PDF éditeur</a:t>
            </a:r>
          </a:p>
          <a:p>
            <a:pPr marL="342900" indent="-342900">
              <a:buFont typeface="Corbel" panose="020B0503020204020204" pitchFamily="34" charset="0"/>
              <a:buChar char="›"/>
            </a:pPr>
            <a:r>
              <a:rPr lang="fr-FR" sz="2000" dirty="0">
                <a:solidFill>
                  <a:prstClr val="black"/>
                </a:solidFill>
                <a:latin typeface="Corbel" panose="020B0503020204020204" pitchFamily="34" charset="0"/>
              </a:rPr>
              <a:t>Embargo : entre 0 et maximum 12 moi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590772" y="1061831"/>
            <a:ext cx="113431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i="1" dirty="0">
                <a:latin typeface="Corbel" panose="020B0503020204020204" pitchFamily="34" charset="0"/>
              </a:rPr>
              <a:t>Au cours de cette session pratique animée avec l’équipe d’</a:t>
            </a:r>
            <a:r>
              <a:rPr lang="fr-FR" sz="2000" i="1" u="sng" dirty="0">
                <a:latin typeface="Corbel" panose="020B0503020204020204" pitchFamily="34" charset="0"/>
                <a:hlinkClick r:id="rId3"/>
              </a:rPr>
              <a:t>Oskar Bordeaux</a:t>
            </a:r>
            <a:r>
              <a:rPr lang="fr-FR" sz="2000" i="1" dirty="0">
                <a:latin typeface="Corbel" panose="020B0503020204020204" pitchFamily="34" charset="0"/>
              </a:rPr>
              <a:t>, nous vous présentons les fonctionnalités d’Oskar et effectuons la démonstration d’un dépôt</a:t>
            </a:r>
            <a:r>
              <a:rPr lang="fr-FR" sz="2000" i="1" dirty="0" smtClean="0">
                <a:latin typeface="Corbel" panose="020B0503020204020204" pitchFamily="34" charset="0"/>
              </a:rPr>
              <a:t>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2664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905" y="198124"/>
            <a:ext cx="2183442" cy="302322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9915039" cy="2852737"/>
          </a:xfrm>
        </p:spPr>
        <p:txBody>
          <a:bodyPr/>
          <a:lstStyle/>
          <a:p>
            <a:r>
              <a:rPr lang="fr-FR" dirty="0" smtClean="0"/>
              <a:t>Interface et fonctionnalités d’Oskar Bordeaux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skar Bordeaux en bref</a:t>
            </a:r>
          </a:p>
          <a:p>
            <a:r>
              <a:rPr lang="fr-FR" dirty="0" smtClean="0"/>
              <a:t>Interfaces unité de recherche et équipes dans Oskar et HAL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Oskar Bordeaux - 2022-06-14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164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6440" y="352900"/>
            <a:ext cx="10515600" cy="1325563"/>
          </a:xfrm>
        </p:spPr>
        <p:txBody>
          <a:bodyPr/>
          <a:lstStyle/>
          <a:p>
            <a:r>
              <a:rPr lang="fr-FR" dirty="0"/>
              <a:t>Oskar Bordeaux en bref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57200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838200" y="1503680"/>
            <a:ext cx="10403840" cy="5080000"/>
          </a:xfrm>
        </p:spPr>
        <p:txBody>
          <a:bodyPr>
            <a:normAutofit/>
          </a:bodyPr>
          <a:lstStyle/>
          <a:p>
            <a:r>
              <a:rPr lang="fr-FR" dirty="0"/>
              <a:t> URL : </a:t>
            </a:r>
            <a:r>
              <a:rPr lang="fr-FR" dirty="0">
                <a:hlinkClick r:id="rId2"/>
              </a:rPr>
              <a:t>https://oskar-bordeaux.fr</a:t>
            </a:r>
            <a:r>
              <a:rPr lang="fr-FR" dirty="0"/>
              <a:t> - contact équipe Oskar : </a:t>
            </a:r>
            <a:r>
              <a:rPr lang="fr-FR" dirty="0">
                <a:hlinkClick r:id="rId3"/>
              </a:rPr>
              <a:t>info@oskar-bordeaux.fr</a:t>
            </a:r>
            <a:r>
              <a:rPr lang="fr-FR" dirty="0"/>
              <a:t> </a:t>
            </a:r>
          </a:p>
          <a:p>
            <a:r>
              <a:rPr lang="fr-FR" dirty="0"/>
              <a:t> Les dépôts sont automatiquement transférés dans HAL : collection du BPH dans HAL : </a:t>
            </a:r>
            <a:r>
              <a:rPr lang="fr-FR" dirty="0">
                <a:hlinkClick r:id="rId4"/>
              </a:rPr>
              <a:t>https://www.hal.inserm.fr/U1219</a:t>
            </a:r>
            <a:r>
              <a:rPr lang="fr-FR" dirty="0"/>
              <a:t> </a:t>
            </a:r>
          </a:p>
          <a:p>
            <a:r>
              <a:rPr lang="fr-FR" dirty="0"/>
              <a:t> Informations obligatoires pour le dépôt d’un article</a:t>
            </a:r>
          </a:p>
          <a:p>
            <a:pPr lvl="1"/>
            <a:r>
              <a:rPr lang="fr-FR" dirty="0"/>
              <a:t>Titre</a:t>
            </a:r>
          </a:p>
          <a:p>
            <a:pPr lvl="1"/>
            <a:r>
              <a:rPr lang="fr-FR" dirty="0"/>
              <a:t>Auteurs</a:t>
            </a:r>
          </a:p>
          <a:p>
            <a:pPr lvl="1"/>
            <a:r>
              <a:rPr lang="fr-FR" dirty="0"/>
              <a:t>Nom de la revue</a:t>
            </a:r>
          </a:p>
          <a:p>
            <a:pPr lvl="1"/>
            <a:r>
              <a:rPr lang="fr-FR" dirty="0"/>
              <a:t>Date</a:t>
            </a:r>
          </a:p>
          <a:p>
            <a:r>
              <a:rPr lang="fr-FR" dirty="0"/>
              <a:t> Ces informations peuvent être récupérées automatiquement à partir du DOI ou du PMID</a:t>
            </a:r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92824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681435" y="6215618"/>
            <a:ext cx="642620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6" r="1457"/>
          <a:stretch/>
        </p:blipFill>
        <p:spPr>
          <a:xfrm>
            <a:off x="343315" y="1162536"/>
            <a:ext cx="8422640" cy="537256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2" name="ZoneTexte 1"/>
          <p:cNvSpPr txBox="1"/>
          <p:nvPr/>
        </p:nvSpPr>
        <p:spPr>
          <a:xfrm>
            <a:off x="343315" y="241012"/>
            <a:ext cx="1142958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skar Bordeaux en bref</a:t>
            </a:r>
            <a:endParaRPr lang="fr-FR" sz="2800" dirty="0">
              <a:ln>
                <a:solidFill>
                  <a:srgbClr val="009FA2"/>
                </a:solidFill>
              </a:ln>
              <a:solidFill>
                <a:srgbClr val="00A3A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1685" y="3135644"/>
            <a:ext cx="5513829" cy="3490740"/>
          </a:xfrm>
          <a:prstGeom prst="rect">
            <a:avLst/>
          </a:prstGeom>
          <a:ln w="3175">
            <a:solidFill>
              <a:schemeClr val="accent2"/>
            </a:solidFill>
          </a:ln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9106319" y="1453900"/>
            <a:ext cx="30856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  <a:hlinkClick r:id="rId5"/>
              </a:rPr>
              <a:t>Collection du BPH dans Oskar</a:t>
            </a:r>
            <a:endParaRPr lang="fr-FR" sz="2800" dirty="0">
              <a:solidFill>
                <a:prstClr val="black"/>
              </a:solidFill>
              <a:latin typeface="Corbel" panose="020B0503020204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09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946906" y="6356349"/>
            <a:ext cx="642620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356570" y="404613"/>
            <a:ext cx="253753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skar Bordeaux en bref</a:t>
            </a:r>
            <a:endParaRPr lang="fr-FR" sz="2800" dirty="0">
              <a:ln>
                <a:solidFill>
                  <a:srgbClr val="009FA2"/>
                </a:solidFill>
              </a:ln>
              <a:solidFill>
                <a:srgbClr val="00A3A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356570" y="3086056"/>
            <a:ext cx="38034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s publications d’une équipe dans Oskar : </a:t>
            </a:r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exemple équipe LEHA</a:t>
            </a:r>
            <a:endParaRPr lang="fr-FR" sz="2800" dirty="0">
              <a:solidFill>
                <a:prstClr val="black"/>
              </a:solidFill>
              <a:latin typeface="Corbel" panose="020B0503020204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926" y="404613"/>
            <a:ext cx="6850974" cy="5951736"/>
          </a:xfrm>
          <a:prstGeom prst="rect">
            <a:avLst/>
          </a:prstGeom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2526722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455468" y="3475740"/>
            <a:ext cx="30856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Collection du BPH dans HAL</a:t>
            </a:r>
            <a:endParaRPr lang="fr-FR" sz="2800" dirty="0">
              <a:solidFill>
                <a:prstClr val="black"/>
              </a:solidFill>
              <a:latin typeface="Corbel" panose="020B0503020204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81E13A-1B0F-4413-A460-E7D88DCF3ED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390" y="595131"/>
            <a:ext cx="8070279" cy="5761219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>
          <a:xfrm>
            <a:off x="2343331" y="6492875"/>
            <a:ext cx="586740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455468" y="708372"/>
            <a:ext cx="274532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skar Bordeaux en bref</a:t>
            </a:r>
            <a:endParaRPr lang="fr-FR" sz="2800" dirty="0">
              <a:ln>
                <a:solidFill>
                  <a:srgbClr val="009FA2"/>
                </a:solidFill>
              </a:ln>
              <a:solidFill>
                <a:srgbClr val="00A3A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3030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905" y="198124"/>
            <a:ext cx="2183442" cy="302322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9904282" cy="2852737"/>
          </a:xfrm>
        </p:spPr>
        <p:txBody>
          <a:bodyPr/>
          <a:lstStyle/>
          <a:p>
            <a:r>
              <a:rPr lang="fr-FR" dirty="0"/>
              <a:t>Rappel sur les droits de dépôt en archive ouvert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Qu’avez-vous le droit de déposer ? Versions </a:t>
            </a:r>
            <a:r>
              <a:rPr lang="fr-FR" dirty="0" smtClean="0"/>
              <a:t>d’article</a:t>
            </a:r>
          </a:p>
          <a:p>
            <a:r>
              <a:rPr lang="fr-FR" dirty="0"/>
              <a:t>Qu’avez-vous le droit de déposer ? </a:t>
            </a:r>
            <a:r>
              <a:rPr lang="fr-FR" dirty="0" smtClean="0"/>
              <a:t>Embargo</a:t>
            </a:r>
            <a:endParaRPr lang="fr-FR" dirty="0"/>
          </a:p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9146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46760" y="166662"/>
            <a:ext cx="10515600" cy="1325563"/>
          </a:xfrm>
        </p:spPr>
        <p:txBody>
          <a:bodyPr/>
          <a:lstStyle/>
          <a:p>
            <a:r>
              <a:rPr lang="fr-FR" dirty="0"/>
              <a:t>Qu’avez-vous le droit de déposer?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760" y="1645330"/>
            <a:ext cx="1419813" cy="179723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2873762" y="1492225"/>
            <a:ext cx="8831140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</a:rPr>
              <a:t>La loi pour une République numérique promulguée le 8 octobre 2016 comporte un article dédié au libre accès aux articles scientifiques, l’article 30.</a:t>
            </a:r>
          </a:p>
          <a:p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</a:rPr>
              <a:t>En bref, tous les articles scientifiques issus de la recherche publique peuvent désormais être déposés dans une archive ouverte:</a:t>
            </a:r>
          </a:p>
          <a:p>
            <a:pPr marL="800100" lvl="1" indent="-342900">
              <a:buClr>
                <a:srgbClr val="009DE0"/>
              </a:buClr>
              <a:buFont typeface="Corbel" panose="020B0503020204020204" pitchFamily="34" charset="0"/>
              <a:buChar char="›"/>
            </a:pPr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</a:rPr>
              <a:t>dans leur version </a:t>
            </a:r>
            <a:r>
              <a:rPr lang="fr-FR" sz="2800" b="1" dirty="0">
                <a:solidFill>
                  <a:prstClr val="black"/>
                </a:solidFill>
                <a:latin typeface="Corbel" panose="020B0503020204020204" pitchFamily="34" charset="0"/>
              </a:rPr>
              <a:t>manuscrit accepté</a:t>
            </a:r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</a:rPr>
              <a:t>,</a:t>
            </a:r>
          </a:p>
          <a:p>
            <a:pPr marL="800100" lvl="1" indent="-342900">
              <a:buClr>
                <a:srgbClr val="009DE0"/>
              </a:buClr>
              <a:buFont typeface="Corbel" panose="020B0503020204020204" pitchFamily="34" charset="0"/>
              <a:buChar char="›"/>
            </a:pPr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</a:rPr>
              <a:t>avec un </a:t>
            </a:r>
            <a:r>
              <a:rPr lang="fr-FR" sz="2800" b="1" dirty="0">
                <a:solidFill>
                  <a:prstClr val="black"/>
                </a:solidFill>
                <a:latin typeface="Corbel" panose="020B0503020204020204" pitchFamily="34" charset="0"/>
              </a:rPr>
              <a:t>embargo maximum de 6 mois (sciences et médecine)/12 mois (SHS)</a:t>
            </a:r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</a:rPr>
              <a:t>,</a:t>
            </a:r>
          </a:p>
          <a:p>
            <a:r>
              <a:rPr lang="fr-FR" sz="2800" dirty="0">
                <a:solidFill>
                  <a:prstClr val="black"/>
                </a:solidFill>
                <a:latin typeface="Corbel" panose="020B0503020204020204" pitchFamily="34" charset="0"/>
              </a:rPr>
              <a:t>quelle que soit la politique de libre accès de l’éditeur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79535" y="3595667"/>
            <a:ext cx="135623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  <a:hlinkClick r:id="rId4"/>
              </a:rPr>
              <a:t>Article 30</a:t>
            </a:r>
            <a:r>
              <a:rPr lang="fr-F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rPr>
              <a:t> de la loi pour une République numérique sur </a:t>
            </a:r>
            <a:r>
              <a:rPr lang="fr-FR" sz="11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rPr>
              <a:t>Legifrance</a:t>
            </a:r>
            <a:r>
              <a:rPr lang="fr-FR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Corbel" panose="020B0503020204020204" pitchFamily="34" charset="0"/>
              </a:rPr>
              <a:t> 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896360" y="6563127"/>
            <a:ext cx="6009640" cy="365125"/>
          </a:xfrm>
        </p:spPr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F. Flamerie - Oskar Bordeaux - 2022-06-14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2768987" y="4272776"/>
            <a:ext cx="604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>
                <a:solidFill>
                  <a:prstClr val="black"/>
                </a:solidFill>
                <a:latin typeface="Corbel" panose="020B0503020204020204" pitchFamily="34" charset="0"/>
              </a:rPr>
              <a:t>ET</a:t>
            </a:r>
          </a:p>
        </p:txBody>
      </p:sp>
    </p:spTree>
    <p:extLst>
      <p:ext uri="{BB962C8B-B14F-4D97-AF65-F5344CB8AC3E}">
        <p14:creationId xmlns:p14="http://schemas.microsoft.com/office/powerpoint/2010/main" val="1859957581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DF file*adobe*file format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72</TotalTime>
  <Words>908</Words>
  <Application>Microsoft Office PowerPoint</Application>
  <PresentationFormat>Grand écran</PresentationFormat>
  <Paragraphs>123</Paragraphs>
  <Slides>16</Slides>
  <Notes>11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4</vt:i4>
      </vt:variant>
      <vt:variant>
        <vt:lpstr>Titres des diapositiv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alibri Light</vt:lpstr>
      <vt:lpstr>Corbel</vt:lpstr>
      <vt:lpstr>Tahoma</vt:lpstr>
      <vt:lpstr>Thème Office</vt:lpstr>
      <vt:lpstr>1_Thème Office</vt:lpstr>
      <vt:lpstr>4_Thème Office</vt:lpstr>
      <vt:lpstr>3_Thème Office</vt:lpstr>
      <vt:lpstr>Présentation PowerPoint</vt:lpstr>
      <vt:lpstr>Programme</vt:lpstr>
      <vt:lpstr>Interface et fonctionnalités d’Oskar Bordeaux</vt:lpstr>
      <vt:lpstr>Oskar Bordeaux en bref</vt:lpstr>
      <vt:lpstr>Présentation PowerPoint</vt:lpstr>
      <vt:lpstr>Présentation PowerPoint</vt:lpstr>
      <vt:lpstr>Présentation PowerPoint</vt:lpstr>
      <vt:lpstr>Rappel sur les droits de dépôt en archive ouverte</vt:lpstr>
      <vt:lpstr>Qu’avez-vous le droit de déposer?</vt:lpstr>
      <vt:lpstr>Qu’avez-vous le droit de déposer?</vt:lpstr>
      <vt:lpstr>Versions d’article : manuscrit accepté</vt:lpstr>
      <vt:lpstr>Embargo?</vt:lpstr>
      <vt:lpstr>Dépôt dans Oskar Bordeaux au BPH</vt:lpstr>
      <vt:lpstr>3 options de dépôt dans Oskar</vt:lpstr>
      <vt:lpstr>Démo d’un dépôt dans Oskar</vt:lpstr>
      <vt:lpstr>Merci pour votre atten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érome Poumeyrol</dc:creator>
  <cp:lastModifiedBy>Frédérique Flamerie De Lachapelle</cp:lastModifiedBy>
  <cp:revision>490</cp:revision>
  <dcterms:created xsi:type="dcterms:W3CDTF">2020-02-04T12:01:45Z</dcterms:created>
  <dcterms:modified xsi:type="dcterms:W3CDTF">2022-06-15T15:34:23Z</dcterms:modified>
</cp:coreProperties>
</file>